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64" r:id="rId5"/>
    <p:sldId id="265" r:id="rId6"/>
    <p:sldId id="274" r:id="rId7"/>
    <p:sldId id="261" r:id="rId8"/>
    <p:sldId id="266" r:id="rId9"/>
    <p:sldId id="280" r:id="rId10"/>
    <p:sldId id="276" r:id="rId11"/>
    <p:sldId id="279" r:id="rId12"/>
    <p:sldId id="259" r:id="rId13"/>
    <p:sldId id="278" r:id="rId14"/>
    <p:sldId id="270" r:id="rId15"/>
    <p:sldId id="281" r:id="rId16"/>
    <p:sldId id="271" r:id="rId17"/>
    <p:sldId id="27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D778"/>
    <a:srgbClr val="82FE2E"/>
    <a:srgbClr val="8CADFE"/>
    <a:srgbClr val="5988FD"/>
    <a:srgbClr val="27B357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E30276-C3F5-4C17-BA8F-9D346F3E7B15}" v="1" dt="2024-08-14T08:18:24.3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 varScale="1">
        <p:scale>
          <a:sx n="60" d="100"/>
          <a:sy n="60" d="100"/>
        </p:scale>
        <p:origin x="14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divhudzannyi Tshikhovhokhovho" userId="2dffc6ec-6b7a-448a-9250-5231830b2de5" providerId="ADAL" clId="{B6E30276-C3F5-4C17-BA8F-9D346F3E7B15}"/>
    <pc:docChg chg="modSld">
      <pc:chgData name="Ndivhudzannyi Tshikhovhokhovho" userId="2dffc6ec-6b7a-448a-9250-5231830b2de5" providerId="ADAL" clId="{B6E30276-C3F5-4C17-BA8F-9D346F3E7B15}" dt="2024-08-14T08:18:24.373" v="0"/>
      <pc:docMkLst>
        <pc:docMk/>
      </pc:docMkLst>
      <pc:sldChg chg="addSp modSp">
        <pc:chgData name="Ndivhudzannyi Tshikhovhokhovho" userId="2dffc6ec-6b7a-448a-9250-5231830b2de5" providerId="ADAL" clId="{B6E30276-C3F5-4C17-BA8F-9D346F3E7B15}" dt="2024-08-14T08:18:24.373" v="0"/>
        <pc:sldMkLst>
          <pc:docMk/>
          <pc:sldMk cId="4108746984" sldId="261"/>
        </pc:sldMkLst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3" creationId="{26D88EA7-774B-A8B7-126A-97CC043C22C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6" creationId="{AA2B51DA-4B7D-3AF7-47D2-259FE0D276E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7" creationId="{BFEEDD9E-80CC-C013-9EA9-99007823589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0" creationId="{C36CCA99-46D9-8AF1-2FF1-177995D85FAE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1" creationId="{13CEE575-E8CA-6016-B857-99CC956DC51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3" creationId="{CD84DD56-1397-C8E6-ED5D-859E2CE14C50}"/>
          </ac:spMkLst>
        </pc:spChg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6" creationId="{71448B28-0269-0E24-6D72-DB28654A8667}"/>
          </ac:spMkLst>
        </pc:s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4" creationId="{24C805A9-10A1-32C6-8C94-E204F9A36C3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8" creationId="{3399B518-B5D3-1C82-5B0E-D5481BE335E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12" creationId="{89B89DE4-E64A-C5FA-DDBF-C59670A99B95}"/>
          </ac:grpSpMkLst>
        </pc:grp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5" creationId="{5421B780-B428-644B-2476-000D18CDBFBC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9" creationId="{1C451441-454B-4F86-F092-EF40DB83B736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4" creationId="{E418057D-431C-DA4D-0A8F-8D1F397EE0BD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5" creationId="{265500B7-1666-5D4C-25F1-1998C1D8685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365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video" Target="../media/media1.mp4"/><Relationship Id="rId16" Type="http://schemas.openxmlformats.org/officeDocument/2006/relationships/image" Target="../media/image34.png"/><Relationship Id="rId1" Type="http://schemas.microsoft.com/office/2007/relationships/media" Target="../media/media1.mp4"/><Relationship Id="rId6" Type="http://schemas.openxmlformats.org/officeDocument/2006/relationships/image" Target="../media/image26.sv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openxmlformats.org/officeDocument/2006/relationships/image" Target="../media/image29.png"/><Relationship Id="rId4" Type="http://schemas.openxmlformats.org/officeDocument/2006/relationships/image" Target="../media/image13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41.png"/><Relationship Id="rId5" Type="http://schemas.openxmlformats.org/officeDocument/2006/relationships/image" Target="../media/image34.png"/><Relationship Id="rId10" Type="http://schemas.microsoft.com/office/2007/relationships/hdphoto" Target="../media/hdphoto1.wdp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1.png"/><Relationship Id="rId7" Type="http://schemas.openxmlformats.org/officeDocument/2006/relationships/image" Target="../media/image4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3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fld id="{77327235-18AC-465A-9DA4-AE0A703CE17A}" type="datetime3">
              <a:rPr lang="en-US" sz="1800" smtClean="0">
                <a:latin typeface="Helvetica" panose="020B0604020202020204" pitchFamily="34" charset="0"/>
                <a:cs typeface="Helvetica" panose="020B0604020202020204" pitchFamily="34" charset="0"/>
              </a:rPr>
              <a:t>14 August 2024</a:t>
            </a:fld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0" y="4021631"/>
            <a:ext cx="911740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0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9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3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0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B109619-00F1-E783-17B6-57D6B6E91F4B}"/>
              </a:ext>
            </a:extLst>
          </p:cNvPr>
          <p:cNvSpPr/>
          <p:nvPr/>
        </p:nvSpPr>
        <p:spPr>
          <a:xfrm>
            <a:off x="2242691" y="1340279"/>
            <a:ext cx="1571542" cy="420374"/>
          </a:xfrm>
          <a:prstGeom prst="rect">
            <a:avLst/>
          </a:prstGeom>
          <a:gradFill>
            <a:gsLst>
              <a:gs pos="46000">
                <a:srgbClr val="82FE2E"/>
              </a:gs>
              <a:gs pos="95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3702BDF-F12A-2FD9-BB7E-FF56A9805B05}"/>
              </a:ext>
            </a:extLst>
          </p:cNvPr>
          <p:cNvSpPr/>
          <p:nvPr/>
        </p:nvSpPr>
        <p:spPr>
          <a:xfrm>
            <a:off x="7734097" y="1340076"/>
            <a:ext cx="3862314" cy="430867"/>
          </a:xfrm>
          <a:prstGeom prst="roundRect">
            <a:avLst/>
          </a:prstGeom>
          <a:gradFill flip="none" rotWithShape="1">
            <a:gsLst>
              <a:gs pos="0">
                <a:srgbClr val="82FE2E"/>
              </a:gs>
              <a:gs pos="73000">
                <a:srgbClr val="8CADF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CE776D5-39D9-9CEE-1921-17852687DF24}"/>
              </a:ext>
            </a:extLst>
          </p:cNvPr>
          <p:cNvSpPr/>
          <p:nvPr/>
        </p:nvSpPr>
        <p:spPr>
          <a:xfrm>
            <a:off x="3680864" y="1340575"/>
            <a:ext cx="1366345" cy="420374"/>
          </a:xfrm>
          <a:prstGeom prst="roundRect">
            <a:avLst/>
          </a:prstGeom>
          <a:gradFill>
            <a:gsLst>
              <a:gs pos="0">
                <a:srgbClr val="49D778"/>
              </a:gs>
              <a:gs pos="78000">
                <a:srgbClr val="82FE2E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2518233" y="1371846"/>
            <a:ext cx="2591999" cy="44285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  <a:latin typeface="+mn-lt"/>
                <a:cs typeface="Helvetica" panose="020B0604020202020204" pitchFamily="34" charset="0"/>
              </a:rPr>
              <a:t>Version Control</a:t>
            </a: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9014" y="217157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3113" y="3869390"/>
            <a:ext cx="1590676" cy="894755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846ACBC-45C0-AEC0-B6E2-1D56BBA09174}"/>
              </a:ext>
            </a:extLst>
          </p:cNvPr>
          <p:cNvSpPr txBox="1"/>
          <p:nvPr/>
        </p:nvSpPr>
        <p:spPr>
          <a:xfrm>
            <a:off x="7797120" y="1321187"/>
            <a:ext cx="381937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ZA" sz="2800" dirty="0">
                <a:ea typeface="+mj-ea"/>
                <a:cs typeface="Helvetica" panose="020B0604020202020204" pitchFamily="34" charset="0"/>
              </a:rPr>
              <a:t>Deployment</a:t>
            </a:r>
            <a:r>
              <a:rPr lang="en-ZA" sz="2800" dirty="0">
                <a:solidFill>
                  <a:schemeClr val="tx2"/>
                </a:solidFill>
              </a:rPr>
              <a:t> Autom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FFC582-4BBE-C09A-A01A-2034D5BAD624}"/>
              </a:ext>
            </a:extLst>
          </p:cNvPr>
          <p:cNvSpPr/>
          <p:nvPr/>
        </p:nvSpPr>
        <p:spPr>
          <a:xfrm>
            <a:off x="96522" y="1977386"/>
            <a:ext cx="6540500" cy="45719"/>
          </a:xfrm>
          <a:prstGeom prst="rect">
            <a:avLst/>
          </a:prstGeom>
          <a:gradFill flip="none" rotWithShape="1">
            <a:gsLst>
              <a:gs pos="65000">
                <a:srgbClr val="27B357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622DFF-B485-9B17-060C-DCCBA0AD2FB7}"/>
              </a:ext>
            </a:extLst>
          </p:cNvPr>
          <p:cNvSpPr/>
          <p:nvPr/>
        </p:nvSpPr>
        <p:spPr>
          <a:xfrm>
            <a:off x="6637022" y="1977202"/>
            <a:ext cx="5458456" cy="45719"/>
          </a:xfrm>
          <a:prstGeom prst="rect">
            <a:avLst/>
          </a:prstGeom>
          <a:gradFill flip="none" rotWithShape="1">
            <a:gsLst>
              <a:gs pos="0">
                <a:srgbClr val="27B357"/>
              </a:gs>
              <a:gs pos="100000">
                <a:srgbClr val="5988FD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</p:spTree>
    <p:extLst>
      <p:ext uri="{BB962C8B-B14F-4D97-AF65-F5344CB8AC3E}">
        <p14:creationId xmlns:p14="http://schemas.microsoft.com/office/powerpoint/2010/main" val="3216726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5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3" grpId="0" animBg="1"/>
      <p:bldP spid="16" grpId="0" animBg="1"/>
      <p:bldP spid="15" grpId="0" animBg="1"/>
      <p:bldP spid="26" grpId="0" animBg="1"/>
      <p:bldP spid="27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3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4C805A9-10A1-32C6-8C94-E204F9A36C3E}"/>
              </a:ext>
            </a:extLst>
          </p:cNvPr>
          <p:cNvGrpSpPr/>
          <p:nvPr/>
        </p:nvGrpSpPr>
        <p:grpSpPr>
          <a:xfrm>
            <a:off x="7734407" y="1856224"/>
            <a:ext cx="3316190" cy="3316190"/>
            <a:chOff x="839521" y="1770905"/>
            <a:chExt cx="3316190" cy="3316190"/>
          </a:xfrm>
        </p:grpSpPr>
        <p:pic>
          <p:nvPicPr>
            <p:cNvPr id="5" name="Picture 4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421B780-B428-644B-2476-000D18CDB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A2B51DA-4B7D-3AF7-47D2-259FE0D276E1}"/>
                </a:ext>
              </a:extLst>
            </p:cNvPr>
            <p:cNvSpPr txBox="1"/>
            <p:nvPr/>
          </p:nvSpPr>
          <p:spPr>
            <a:xfrm>
              <a:off x="1252709" y="3162010"/>
              <a:ext cx="413575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EEDD9E-80CC-C013-9EA9-990078235898}"/>
                </a:ext>
              </a:extLst>
            </p:cNvPr>
            <p:cNvSpPr txBox="1"/>
            <p:nvPr/>
          </p:nvSpPr>
          <p:spPr>
            <a:xfrm>
              <a:off x="3075483" y="3069759"/>
              <a:ext cx="827150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99B518-B5D3-1C82-5B0E-D5481BE335EE}"/>
              </a:ext>
            </a:extLst>
          </p:cNvPr>
          <p:cNvGrpSpPr/>
          <p:nvPr/>
        </p:nvGrpSpPr>
        <p:grpSpPr>
          <a:xfrm>
            <a:off x="1356554" y="1770905"/>
            <a:ext cx="3316190" cy="3316190"/>
            <a:chOff x="839521" y="1770905"/>
            <a:chExt cx="3316190" cy="3316190"/>
          </a:xfrm>
        </p:grpSpPr>
        <p:pic>
          <p:nvPicPr>
            <p:cNvPr id="9" name="Picture 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C451441-454B-4F86-F092-EF40DB83B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CCA99-46D9-8AF1-2FF1-177995D85FAE}"/>
                </a:ext>
              </a:extLst>
            </p:cNvPr>
            <p:cNvSpPr txBox="1"/>
            <p:nvPr/>
          </p:nvSpPr>
          <p:spPr>
            <a:xfrm>
              <a:off x="1099543" y="3171147"/>
              <a:ext cx="8111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3CEE575-E8CA-6016-B857-99CC956DC511}"/>
                </a:ext>
              </a:extLst>
            </p:cNvPr>
            <p:cNvSpPr txBox="1"/>
            <p:nvPr/>
          </p:nvSpPr>
          <p:spPr>
            <a:xfrm>
              <a:off x="2981804" y="3069759"/>
              <a:ext cx="108022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B89DE4-E64A-C5FA-DDBF-C59670A99B95}"/>
              </a:ext>
            </a:extLst>
          </p:cNvPr>
          <p:cNvGrpSpPr/>
          <p:nvPr/>
        </p:nvGrpSpPr>
        <p:grpSpPr>
          <a:xfrm>
            <a:off x="8142616" y="2010902"/>
            <a:ext cx="5296453" cy="3921233"/>
            <a:chOff x="461285" y="814632"/>
            <a:chExt cx="5296453" cy="392123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84DD56-1397-C8E6-ED5D-859E2CE14C50}"/>
                </a:ext>
              </a:extLst>
            </p:cNvPr>
            <p:cNvSpPr txBox="1"/>
            <p:nvPr/>
          </p:nvSpPr>
          <p:spPr>
            <a:xfrm>
              <a:off x="461285" y="3334969"/>
              <a:ext cx="5296453" cy="14008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5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chemeClr val="tx2"/>
                  </a:solidFill>
                </a:rPr>
                <a:t>What is BI Ops ?          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2"/>
                  </a:solidFill>
                </a:rPr>
                <a:t>Is the DevOps of BI.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pic>
          <p:nvPicPr>
            <p:cNvPr id="14" name="Picture 13" descr="A cartoon rocket with fire&#10;&#10;Description automatically generated">
              <a:extLst>
                <a:ext uri="{FF2B5EF4-FFF2-40B4-BE49-F238E27FC236}">
                  <a16:creationId xmlns:a16="http://schemas.microsoft.com/office/drawing/2014/main" id="{E418057D-431C-DA4D-0A8F-8D1F397EE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96091">
              <a:off x="2591290" y="1148373"/>
              <a:ext cx="366631" cy="252076"/>
            </a:xfrm>
            <a:prstGeom prst="rect">
              <a:avLst/>
            </a:prstGeom>
          </p:spPr>
        </p:pic>
        <p:pic>
          <p:nvPicPr>
            <p:cNvPr id="15" name="Picture 14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265500B7-1666-5D4C-25F1-1998C1D86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7118" y="814632"/>
              <a:ext cx="433683" cy="369348"/>
            </a:xfrm>
            <a:prstGeom prst="rect">
              <a:avLst/>
            </a:prstGeom>
          </p:spPr>
        </p:pic>
      </p:grpSp>
      <p:sp>
        <p:nvSpPr>
          <p:cNvPr id="16" name="Equals 15">
            <a:extLst>
              <a:ext uri="{FF2B5EF4-FFF2-40B4-BE49-F238E27FC236}">
                <a16:creationId xmlns:a16="http://schemas.microsoft.com/office/drawing/2014/main" id="{71448B28-0269-0E24-6D72-DB28654A8667}"/>
              </a:ext>
            </a:extLst>
          </p:cNvPr>
          <p:cNvSpPr/>
          <p:nvPr/>
        </p:nvSpPr>
        <p:spPr>
          <a:xfrm>
            <a:off x="5520909" y="3057119"/>
            <a:ext cx="1365333" cy="914400"/>
          </a:xfrm>
          <a:prstGeom prst="mathEqual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pic>
        <p:nvPicPr>
          <p:cNvPr id="6" name="Picture 5_Scard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7EF9C6C3-801C-3835-6D80-6B24D87315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57"/>
          <a:stretch/>
        </p:blipFill>
        <p:spPr>
          <a:xfrm>
            <a:off x="8758831" y="2463081"/>
            <a:ext cx="2644127" cy="3754903"/>
          </a:xfrm>
          <a:prstGeom prst="rect">
            <a:avLst/>
          </a:prstGeom>
        </p:spPr>
      </p:pic>
      <p:grpSp>
        <p:nvGrpSpPr>
          <p:cNvPr id="22" name="Group 21_wrong worksapce">
            <a:extLst>
              <a:ext uri="{FF2B5EF4-FFF2-40B4-BE49-F238E27FC236}">
                <a16:creationId xmlns:a16="http://schemas.microsoft.com/office/drawing/2014/main" id="{42552DC3-DB4D-FA2C-B4FE-816276C1EF26}"/>
              </a:ext>
            </a:extLst>
          </p:cNvPr>
          <p:cNvGrpSpPr/>
          <p:nvPr/>
        </p:nvGrpSpPr>
        <p:grpSpPr>
          <a:xfrm>
            <a:off x="7612652" y="2462643"/>
            <a:ext cx="3230020" cy="1667405"/>
            <a:chOff x="7612652" y="2462643"/>
            <a:chExt cx="3230020" cy="1667405"/>
          </a:xfrm>
        </p:grpSpPr>
        <p:pic>
          <p:nvPicPr>
            <p:cNvPr id="7" name="Picture 6_Wrong workspace" descr="A white rectangular object with a red x and black text&#10;&#10;Description automatically generated">
              <a:extLst>
                <a:ext uri="{FF2B5EF4-FFF2-40B4-BE49-F238E27FC236}">
                  <a16:creationId xmlns:a16="http://schemas.microsoft.com/office/drawing/2014/main" id="{1394ADBF-B709-3649-2812-EDAD90C0D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68" t="31603" r="11166" b="30753"/>
            <a:stretch/>
          </p:blipFill>
          <p:spPr>
            <a:xfrm>
              <a:off x="7612652" y="2462643"/>
              <a:ext cx="1630989" cy="1119584"/>
            </a:xfrm>
            <a:prstGeom prst="rect">
              <a:avLst/>
            </a:prstGeom>
          </p:spPr>
        </p:pic>
        <p:grpSp>
          <p:nvGrpSpPr>
            <p:cNvPr id="19" name="Error Alert">
              <a:extLst>
                <a:ext uri="{FF2B5EF4-FFF2-40B4-BE49-F238E27FC236}">
                  <a16:creationId xmlns:a16="http://schemas.microsoft.com/office/drawing/2014/main" id="{51FE5B06-153F-AA6A-0EAF-7B38A292CDE2}"/>
                </a:ext>
              </a:extLst>
            </p:cNvPr>
            <p:cNvGrpSpPr/>
            <p:nvPr/>
          </p:nvGrpSpPr>
          <p:grpSpPr>
            <a:xfrm>
              <a:off x="9308380" y="3617932"/>
              <a:ext cx="1534292" cy="512116"/>
              <a:chOff x="9308380" y="3617932"/>
              <a:chExt cx="1534292" cy="512116"/>
            </a:xfrm>
          </p:grpSpPr>
          <p:pic>
            <p:nvPicPr>
              <p:cNvPr id="14" name="Picture 13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5ACB79AA-7EE6-9368-E206-B78C802C7A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2443479">
                <a:off x="10739828" y="3625523"/>
                <a:ext cx="102844" cy="504525"/>
              </a:xfrm>
              <a:prstGeom prst="rect">
                <a:avLst/>
              </a:prstGeom>
            </p:spPr>
          </p:pic>
          <p:pic>
            <p:nvPicPr>
              <p:cNvPr id="16" name="Picture 15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8A3B2B3E-7D34-CFCE-C50A-9D01C3BC67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18958865">
                <a:off x="9308380" y="3617932"/>
                <a:ext cx="102844" cy="504525"/>
              </a:xfrm>
              <a:prstGeom prst="rect">
                <a:avLst/>
              </a:prstGeom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AEF384-80CE-97C0-3AEF-CA5F9F477617}"/>
              </a:ext>
            </a:extLst>
          </p:cNvPr>
          <p:cNvSpPr txBox="1"/>
          <p:nvPr/>
        </p:nvSpPr>
        <p:spPr>
          <a:xfrm>
            <a:off x="599197" y="1218302"/>
            <a:ext cx="101684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dirty="0"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Z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ive is to </a:t>
            </a:r>
            <a:r>
              <a:rPr lang="en-ZA" dirty="0"/>
              <a:t>highlight the benefits of automating Power BI report deployments to Power BI Services and utilising GitHub for version control over manual processes.</a:t>
            </a:r>
          </a:p>
        </p:txBody>
      </p:sp>
      <p:sp>
        <p:nvSpPr>
          <p:cNvPr id="4" name="TextBox_Benefits">
            <a:extLst>
              <a:ext uri="{FF2B5EF4-FFF2-40B4-BE49-F238E27FC236}">
                <a16:creationId xmlns:a16="http://schemas.microsoft.com/office/drawing/2014/main" id="{F732AD9F-B6D8-5AAD-504D-E9DE723C8142}"/>
              </a:ext>
            </a:extLst>
          </p:cNvPr>
          <p:cNvSpPr txBox="1"/>
          <p:nvPr/>
        </p:nvSpPr>
        <p:spPr>
          <a:xfrm>
            <a:off x="593024" y="2167373"/>
            <a:ext cx="691093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2000" b="1" dirty="0"/>
              <a:t>Benefits of Automated Deployment with Version Control:</a:t>
            </a:r>
            <a:endParaRPr lang="en-ZA" sz="2000" b="1" dirty="0">
              <a:solidFill>
                <a:schemeClr val="tx2"/>
              </a:solidFill>
            </a:endParaRPr>
          </a:p>
        </p:txBody>
      </p:sp>
      <p:grpSp>
        <p:nvGrpSpPr>
          <p:cNvPr id="21" name="Group 20_Happy">
            <a:extLst>
              <a:ext uri="{FF2B5EF4-FFF2-40B4-BE49-F238E27FC236}">
                <a16:creationId xmlns:a16="http://schemas.microsoft.com/office/drawing/2014/main" id="{D3346068-FF3D-ADB9-BE92-CF99883B8822}"/>
              </a:ext>
            </a:extLst>
          </p:cNvPr>
          <p:cNvGrpSpPr/>
          <p:nvPr/>
        </p:nvGrpSpPr>
        <p:grpSpPr>
          <a:xfrm>
            <a:off x="7593040" y="2265810"/>
            <a:ext cx="3958074" cy="4032449"/>
            <a:chOff x="7585560" y="2215483"/>
            <a:chExt cx="3958074" cy="4032449"/>
          </a:xfrm>
        </p:grpSpPr>
        <p:pic>
          <p:nvPicPr>
            <p:cNvPr id="18" name="Picture 17_Happy" descr="A cartoon of a person sitting at a desk with a computer&#10;&#10;Description automatically generated">
              <a:extLst>
                <a:ext uri="{FF2B5EF4-FFF2-40B4-BE49-F238E27FC236}">
                  <a16:creationId xmlns:a16="http://schemas.microsoft.com/office/drawing/2014/main" id="{6E9712DA-F67C-B07D-4FC8-25013F524E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41" t="12293" r="8597" b="11261"/>
            <a:stretch/>
          </p:blipFill>
          <p:spPr>
            <a:xfrm>
              <a:off x="8899580" y="2413594"/>
              <a:ext cx="2644054" cy="3834338"/>
            </a:xfrm>
            <a:prstGeom prst="rect">
              <a:avLst/>
            </a:prstGeom>
          </p:spPr>
        </p:pic>
        <p:pic>
          <p:nvPicPr>
            <p:cNvPr id="11" name="Picture 10_Check Mark" descr="A green check mark in a circle&#10;&#10;Description automatically generated">
              <a:extLst>
                <a:ext uri="{FF2B5EF4-FFF2-40B4-BE49-F238E27FC236}">
                  <a16:creationId xmlns:a16="http://schemas.microsoft.com/office/drawing/2014/main" id="{895D8B80-6719-315C-C8D6-636D15B76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5560" y="2215483"/>
              <a:ext cx="1685172" cy="1685172"/>
            </a:xfrm>
            <a:prstGeom prst="rect">
              <a:avLst/>
            </a:prstGeom>
          </p:spPr>
        </p:pic>
      </p:grpSp>
      <p:grpSp>
        <p:nvGrpSpPr>
          <p:cNvPr id="9" name="Group_Of Benifits">
            <a:extLst>
              <a:ext uri="{FF2B5EF4-FFF2-40B4-BE49-F238E27FC236}">
                <a16:creationId xmlns:a16="http://schemas.microsoft.com/office/drawing/2014/main" id="{4E414D35-847A-4207-B080-6B86CE5BCFC1}"/>
              </a:ext>
            </a:extLst>
          </p:cNvPr>
          <p:cNvGrpSpPr/>
          <p:nvPr/>
        </p:nvGrpSpPr>
        <p:grpSpPr>
          <a:xfrm>
            <a:off x="559970" y="3022435"/>
            <a:ext cx="4430765" cy="3039229"/>
            <a:chOff x="559970" y="3022435"/>
            <a:chExt cx="4430765" cy="3039229"/>
          </a:xfrm>
        </p:grpSpPr>
        <p:sp>
          <p:nvSpPr>
            <p:cNvPr id="13" name="TextBox_Minimise Errors">
              <a:extLst>
                <a:ext uri="{FF2B5EF4-FFF2-40B4-BE49-F238E27FC236}">
                  <a16:creationId xmlns:a16="http://schemas.microsoft.com/office/drawing/2014/main" id="{BAF49E65-6BA3-CECA-2083-070CBAB570FD}"/>
                </a:ext>
              </a:extLst>
            </p:cNvPr>
            <p:cNvSpPr txBox="1"/>
            <p:nvPr/>
          </p:nvSpPr>
          <p:spPr>
            <a:xfrm>
              <a:off x="593024" y="3022435"/>
              <a:ext cx="2637004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Minimised Human Error</a:t>
              </a:r>
            </a:p>
          </p:txBody>
        </p:sp>
        <p:sp>
          <p:nvSpPr>
            <p:cNvPr id="15" name="TextBox_Up to date reports">
              <a:extLst>
                <a:ext uri="{FF2B5EF4-FFF2-40B4-BE49-F238E27FC236}">
                  <a16:creationId xmlns:a16="http://schemas.microsoft.com/office/drawing/2014/main" id="{7AC17E0E-4C68-6DBC-AECD-AD1E75A207B2}"/>
                </a:ext>
              </a:extLst>
            </p:cNvPr>
            <p:cNvSpPr txBox="1"/>
            <p:nvPr/>
          </p:nvSpPr>
          <p:spPr>
            <a:xfrm>
              <a:off x="586414" y="4820157"/>
              <a:ext cx="2237087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Up-to-Date Reports</a:t>
              </a:r>
            </a:p>
          </p:txBody>
        </p:sp>
        <p:sp>
          <p:nvSpPr>
            <p:cNvPr id="17" name="TextBox_Reduced Workload">
              <a:extLst>
                <a:ext uri="{FF2B5EF4-FFF2-40B4-BE49-F238E27FC236}">
                  <a16:creationId xmlns:a16="http://schemas.microsoft.com/office/drawing/2014/main" id="{A17B9561-9074-1E05-7E58-8369561D0B28}"/>
                </a:ext>
              </a:extLst>
            </p:cNvPr>
            <p:cNvSpPr txBox="1"/>
            <p:nvPr/>
          </p:nvSpPr>
          <p:spPr>
            <a:xfrm>
              <a:off x="593024" y="3921296"/>
              <a:ext cx="2182329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Reduced Workload</a:t>
              </a:r>
            </a:p>
          </p:txBody>
        </p:sp>
        <p:sp>
          <p:nvSpPr>
            <p:cNvPr id="5" name="TextBox_Up to date reports">
              <a:extLst>
                <a:ext uri="{FF2B5EF4-FFF2-40B4-BE49-F238E27FC236}">
                  <a16:creationId xmlns:a16="http://schemas.microsoft.com/office/drawing/2014/main" id="{50C4B07D-5BB5-A093-2388-82D10384403C}"/>
                </a:ext>
              </a:extLst>
            </p:cNvPr>
            <p:cNvSpPr txBox="1"/>
            <p:nvPr/>
          </p:nvSpPr>
          <p:spPr>
            <a:xfrm>
              <a:off x="559970" y="5777932"/>
              <a:ext cx="4430765" cy="2837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dirty="0">
                  <a:latin typeface="Aptos" panose="020B0004020202020204" pitchFamily="34" charset="0"/>
                </a:rPr>
                <a:t>Enhanced Traceability and Collaboration</a:t>
              </a:r>
              <a:endParaRPr lang="en-ZA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25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900958" y="2641743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Mai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358A1BA-51D9-B88E-BB9E-7D5F618DE47A}"/>
              </a:ext>
            </a:extLst>
          </p:cNvPr>
          <p:cNvSpPr/>
          <p:nvPr/>
        </p:nvSpPr>
        <p:spPr>
          <a:xfrm>
            <a:off x="8024493" y="2604537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Finalise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94C2584-4E62-A8B0-5BCF-34295CEED9C8}"/>
              </a:ext>
            </a:extLst>
          </p:cNvPr>
          <p:cNvSpPr/>
          <p:nvPr/>
        </p:nvSpPr>
        <p:spPr>
          <a:xfrm>
            <a:off x="8024493" y="4318294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Pre-Pro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900958" y="4399178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Dev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3" grpId="0" animBg="1"/>
      <p:bldP spid="5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customXml/itemProps3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10</TotalTime>
  <Words>255</Words>
  <Application>Microsoft Office PowerPoint</Application>
  <PresentationFormat>Widescreen</PresentationFormat>
  <Paragraphs>93</Paragraphs>
  <Slides>14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ptos</vt:lpstr>
      <vt:lpstr>Arial</vt:lpstr>
      <vt:lpstr>Helvetica</vt:lpstr>
      <vt:lpstr>Segoe UI Semibold</vt:lpstr>
      <vt:lpstr>Dentons 16:9</vt:lpstr>
      <vt:lpstr>think-cell Slide</vt:lpstr>
      <vt:lpstr>Sambe Consulting BIOps Presentation 14 August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Environment Workflow</vt:lpstr>
      <vt:lpstr>BIOps Environment Workflow</vt:lpstr>
      <vt:lpstr>PowerPoint Presentation</vt:lpstr>
      <vt:lpstr>PowerPoint Presentation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82</cp:revision>
  <dcterms:created xsi:type="dcterms:W3CDTF">2024-05-03T18:09:04Z</dcterms:created>
  <dcterms:modified xsi:type="dcterms:W3CDTF">2024-08-14T08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